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sldIdLst>
    <p:sldId id="413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1E2B"/>
    <a:srgbClr val="E51E2B"/>
    <a:srgbClr val="CC0000"/>
    <a:srgbClr val="F2F2F2"/>
    <a:srgbClr val="E41E2A"/>
    <a:srgbClr val="686868"/>
    <a:srgbClr val="7F7F7F"/>
    <a:srgbClr val="F5EFEF"/>
    <a:srgbClr val="BBB9C0"/>
    <a:srgbClr val="D3CB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953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5F2F003-1432-45D3-861A-AA287BC011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09502BCC-DDC8-4323-9E8E-E006DB0362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98A44D-6A05-4392-B590-65372EB126BF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33F24A8-EAA9-4A16-BF8F-6F7670BF3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33" name="TPandFilters">
            <a:extLst>
              <a:ext uri="{FF2B5EF4-FFF2-40B4-BE49-F238E27FC236}">
                <a16:creationId xmlns:a16="http://schemas.microsoft.com/office/drawing/2014/main" id="{8EF2C900-E56B-4376-A36E-61C8129BDE6F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A126300D-57F6-4904-9B81-81CAA46B2EB5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B5E9FE6B-726D-4BB9-BBB4-C1EC1350E2D2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0F39F35-2920-4FF7-B0A9-97FC6ACBB31D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13E90D7-A62E-4CBB-BBDC-1E7D117B21AD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C808CF11-5BC9-4272-86E9-1A9DA0303FEF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1337CB5C-6CB1-4E5A-90D3-BC8B0B7E11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0" name="Picture 3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ECC1972-FDD8-42F2-9662-D44BBB665B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F0C4730-5C90-4916-AF64-19C7C84219AB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00930" y="17996"/>
            <a:ext cx="1189107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13493" y="158650"/>
            <a:ext cx="9110567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Club Foods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00928" y="758721"/>
            <a:ext cx="11494800" cy="526320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54608" y="6074037"/>
            <a:ext cx="44700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ea typeface="ＭＳ Ｐゴシック" charset="0"/>
                <a:cs typeface="ＭＳ Ｐゴシック" charset="0"/>
              </a:rPr>
              <a:t>[1] Stat Test vs Total Trips to Urban-Club Foods</a:t>
            </a:r>
            <a:endParaRPr lang="en-US" sz="900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878100"/>
              </p:ext>
            </p:extLst>
          </p:nvPr>
        </p:nvGraphicFramePr>
        <p:xfrm>
          <a:off x="413476" y="725685"/>
          <a:ext cx="11394000" cy="5240766"/>
        </p:xfrm>
        <a:graphic>
          <a:graphicData uri="http://schemas.openxmlformats.org/drawingml/2006/table">
            <a:tbl>
              <a:tblPr/>
              <a:tblGrid>
                <a:gridCol w="3868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454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616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4807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lub Food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442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181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18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1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18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618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1792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6181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618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44882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535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4163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8049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6181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61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61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623236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56</TotalTime>
  <Words>186</Words>
  <Application>Microsoft Office PowerPoint</Application>
  <PresentationFormat>Widescreen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30</cp:revision>
  <cp:lastPrinted>2015-12-04T15:56:47Z</cp:lastPrinted>
  <dcterms:created xsi:type="dcterms:W3CDTF">2014-05-21T13:43:49Z</dcterms:created>
  <dcterms:modified xsi:type="dcterms:W3CDTF">2018-10-22T09:4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